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110" d="100"/>
          <a:sy n="110" d="100"/>
        </p:scale>
        <p:origin x="114" y="121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2/03/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2/03/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Daniel Barnes</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2.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082</TotalTime>
  <Words>375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Daniel Barnes</cp:lastModifiedBy>
  <cp:revision>71</cp:revision>
  <cp:lastPrinted>2000-01-01T00:00:00Z</cp:lastPrinted>
  <dcterms:created xsi:type="dcterms:W3CDTF">2022-01-15T17:28:45Z</dcterms:created>
  <dcterms:modified xsi:type="dcterms:W3CDTF">2022-04-03T13:02:04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